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  <p:sldMasterId id="2147484063" r:id="rId2"/>
  </p:sldMasterIdLst>
  <p:notesMasterIdLst>
    <p:notesMasterId r:id="rId19"/>
  </p:notesMasterIdLst>
  <p:handoutMasterIdLst>
    <p:handoutMasterId r:id="rId20"/>
  </p:handoutMasterIdLst>
  <p:sldIdLst>
    <p:sldId id="777" r:id="rId3"/>
    <p:sldId id="778" r:id="rId4"/>
    <p:sldId id="781" r:id="rId5"/>
    <p:sldId id="779" r:id="rId6"/>
    <p:sldId id="780" r:id="rId7"/>
    <p:sldId id="782" r:id="rId8"/>
    <p:sldId id="783" r:id="rId9"/>
    <p:sldId id="784" r:id="rId10"/>
    <p:sldId id="785" r:id="rId11"/>
    <p:sldId id="787" r:id="rId12"/>
    <p:sldId id="788" r:id="rId13"/>
    <p:sldId id="789" r:id="rId14"/>
    <p:sldId id="790" r:id="rId15"/>
    <p:sldId id="791" r:id="rId16"/>
    <p:sldId id="792" r:id="rId17"/>
    <p:sldId id="786" r:id="rId18"/>
  </p:sldIdLst>
  <p:sldSz cx="9906000" cy="6858000" type="A4"/>
  <p:notesSz cx="10234613" cy="7102475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3CFE1"/>
    <a:srgbClr val="FF702D"/>
    <a:srgbClr val="DFE5EF"/>
    <a:srgbClr val="F2F7FC"/>
    <a:srgbClr val="E4EEF9"/>
    <a:srgbClr val="004489"/>
    <a:srgbClr val="FA5500"/>
    <a:srgbClr val="7F7F7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0" autoAdjust="0"/>
    <p:restoredTop sz="91223" autoAdjust="0"/>
  </p:normalViewPr>
  <p:slideViewPr>
    <p:cSldViewPr snapToGrid="0">
      <p:cViewPr varScale="1">
        <p:scale>
          <a:sx n="78" d="100"/>
          <a:sy n="78" d="100"/>
        </p:scale>
        <p:origin x="-690" y="-90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5862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550" y="0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AE9BECD1-5623-484E-A386-8B24A67C29C8}" type="datetimeFigureOut">
              <a:rPr lang="ru-RU"/>
              <a:pPr>
                <a:defRPr/>
              </a:pPr>
              <a:t>02.06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6875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550" y="6746875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5F4C2BBE-FE6B-4E6E-A73D-FB3BC3E9CD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550" y="0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4DCC89CC-F28F-4971-9377-CBF7882F5CF7}" type="datetimeFigureOut">
              <a:rPr lang="ru-RU"/>
              <a:pPr>
                <a:defRPr/>
              </a:pPr>
              <a:t>02.06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2350" y="3373438"/>
            <a:ext cx="8189913" cy="3195637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46875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550" y="6746875"/>
            <a:ext cx="4435475" cy="354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BE55D21A-4551-4CF5-A264-308D757ED5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93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993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7993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B8BB3B0-C423-47B2-9718-51AC8F5DBA20}" type="slidenum">
              <a:rPr lang="ru-RU" smtClean="0">
                <a:cs typeface="Arial" charset="0"/>
              </a:rPr>
              <a:pPr/>
              <a:t>1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9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19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19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2BB6334-1D27-4A9B-BBC7-87BFAE1B8A1A}" type="slidenum">
              <a:rPr lang="ru-RU" smtClean="0">
                <a:cs typeface="Arial" charset="0"/>
              </a:rPr>
              <a:pPr/>
              <a:t>2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0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40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40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65B9E7E-AAE0-48C1-A76B-B7138427ED1B}" type="slidenum">
              <a:rPr lang="ru-RU" smtClean="0">
                <a:cs typeface="Arial" charset="0"/>
              </a:rPr>
              <a:pPr/>
              <a:t>3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0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608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4766FE4-147A-4E7D-A31A-A86B9FD74CDA}" type="slidenum">
              <a:rPr lang="ru-RU" smtClean="0">
                <a:cs typeface="Arial" charset="0"/>
              </a:rPr>
              <a:pPr/>
              <a:t>4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81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81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5D4D6DC-BFA2-45F0-B07B-0D92086B4CE4}" type="slidenum">
              <a:rPr lang="ru-RU" smtClean="0">
                <a:cs typeface="Arial" charset="0"/>
              </a:rPr>
              <a:pPr/>
              <a:t>5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17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017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9017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A7A5246-768D-42A9-8EFF-8D9A6F7859E5}" type="slidenum">
              <a:rPr lang="ru-RU" smtClean="0">
                <a:cs typeface="Arial" charset="0"/>
              </a:rPr>
              <a:pPr/>
              <a:t>6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2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22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922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2E2F874-39F3-446F-A3AA-C7AB237B513C}" type="slidenum">
              <a:rPr lang="ru-RU" smtClean="0">
                <a:cs typeface="Arial" charset="0"/>
              </a:rPr>
              <a:pPr/>
              <a:t>7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20.xml"/><Relationship Id="rId7" Type="http://schemas.openxmlformats.org/officeDocument/2006/relationships/image" Target="../media/image3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jpeg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jpeg"/><Relationship Id="rId4" Type="http://schemas.openxmlformats.org/officeDocument/2006/relationships/oleObject" Target="../embeddings/oleObject1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7.xml"/><Relationship Id="rId7" Type="http://schemas.openxmlformats.org/officeDocument/2006/relationships/image" Target="../media/image3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2705" name="think-cell Slide" r:id="rId5" imgW="360" imgH="360" progId="">
              <p:embed/>
            </p:oleObj>
          </a:graphicData>
        </a:graphic>
      </p:graphicFrame>
      <p:pic>
        <p:nvPicPr>
          <p:cNvPr id="4" name="Picture 20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2706" name="think-cell Slide" r:id="rId7" imgW="360" imgH="360" progId="">
              <p:embed/>
            </p:oleObj>
          </a:graphicData>
        </a:graphic>
      </p:graphicFrame>
      <p:cxnSp>
        <p:nvCxnSpPr>
          <p:cNvPr id="6" name="Прямая соединительная линия 13"/>
          <p:cNvCxnSpPr/>
          <p:nvPr userDrawn="1"/>
        </p:nvCxnSpPr>
        <p:spPr>
          <a:xfrm flipV="1">
            <a:off x="363538" y="0"/>
            <a:ext cx="0" cy="685800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538" y="2788024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9873" name="think-cell Slide" r:id="rId6" imgW="360" imgH="360" progId="">
              <p:embed/>
            </p:oleObj>
          </a:graphicData>
        </a:graphic>
      </p:graphicFrame>
      <p:pic>
        <p:nvPicPr>
          <p:cNvPr id="7" name="Picture 206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9874" name="think-cell Slide" r:id="rId8" imgW="360" imgH="360" progId="">
              <p:embed/>
            </p:oleObj>
          </a:graphicData>
        </a:graphic>
      </p:graphicFrame>
      <p:pic>
        <p:nvPicPr>
          <p:cNvPr id="9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035800" y="6519863"/>
            <a:ext cx="2455863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ctr">
              <a:defRPr sz="1000" b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DBB64D59-3747-47C0-8290-C8489410C7A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3729" name="think-cell Slide" r:id="rId6" imgW="360" imgH="360" progId="">
              <p:embed/>
            </p:oleObj>
          </a:graphicData>
        </a:graphic>
      </p:graphicFrame>
      <p:pic>
        <p:nvPicPr>
          <p:cNvPr id="7" name="Picture 206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3730" name="think-cell Slide" r:id="rId8" imgW="360" imgH="360" progId="">
              <p:embed/>
            </p:oleObj>
          </a:graphicData>
        </a:graphic>
      </p:graphicFrame>
      <p:pic>
        <p:nvPicPr>
          <p:cNvPr id="9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035800" y="6519863"/>
            <a:ext cx="2455863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D8F696C-9E23-47F7-A4CD-1634373EFA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4753" name="think-cell Slide" r:id="rId4" imgW="360" imgH="360" progId="">
              <p:embed/>
            </p:oleObj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4"/>
          <p:cNvCxnSpPr/>
          <p:nvPr userDrawn="1"/>
        </p:nvCxnSpPr>
        <p:spPr>
          <a:xfrm>
            <a:off x="0" y="260826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5"/>
          <p:cNvCxnSpPr/>
          <p:nvPr userDrawn="1"/>
        </p:nvCxnSpPr>
        <p:spPr>
          <a:xfrm flipV="1">
            <a:off x="363538" y="0"/>
            <a:ext cx="0" cy="685800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90525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0525" y="5381625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74A8AB-FE2F-4E34-9DAD-1264AADAB6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5777" name="think-cell Slide" r:id="rId5" imgW="360" imgH="360" progId="">
              <p:embed/>
            </p:oleObj>
          </a:graphicData>
        </a:graphic>
      </p:graphicFrame>
      <p:pic>
        <p:nvPicPr>
          <p:cNvPr id="4" name="Picture 20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5778" name="think-cell Slide" r:id="rId7" imgW="360" imgH="360" progId="">
              <p:embed/>
            </p:oleObj>
          </a:graphicData>
        </a:graphic>
      </p:graphicFrame>
      <p:cxnSp>
        <p:nvCxnSpPr>
          <p:cNvPr id="6" name="Прямая соединительная линия 13"/>
          <p:cNvCxnSpPr/>
          <p:nvPr userDrawn="1"/>
        </p:nvCxnSpPr>
        <p:spPr>
          <a:xfrm flipV="1">
            <a:off x="363538" y="0"/>
            <a:ext cx="0" cy="685800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538" y="2788028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01" name="think-cell Slide" r:id="rId6" imgW="360" imgH="360" progId="">
              <p:embed/>
            </p:oleObj>
          </a:graphicData>
        </a:graphic>
      </p:graphicFrame>
      <p:pic>
        <p:nvPicPr>
          <p:cNvPr id="6" name="Picture 206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02" name="think-cell Slide" r:id="rId8" imgW="360" imgH="360" progId="">
              <p:embed/>
            </p:oleObj>
          </a:graphicData>
        </a:graphic>
      </p:graphicFrame>
      <p:pic>
        <p:nvPicPr>
          <p:cNvPr id="8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035800" y="6519863"/>
            <a:ext cx="2455863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1" y="1060468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ctr">
              <a:defRPr sz="1000" b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0F1DEDC2-2C11-4D10-B99D-7201BC6A3A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825" name="think-cell Slide" r:id="rId4" imgW="360" imgH="360" progId="">
              <p:embed/>
            </p:oleObj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4"/>
          <p:cNvCxnSpPr/>
          <p:nvPr userDrawn="1"/>
        </p:nvCxnSpPr>
        <p:spPr>
          <a:xfrm>
            <a:off x="0" y="260826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5"/>
          <p:cNvCxnSpPr/>
          <p:nvPr userDrawn="1"/>
        </p:nvCxnSpPr>
        <p:spPr>
          <a:xfrm flipV="1">
            <a:off x="363538" y="0"/>
            <a:ext cx="0" cy="685800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90530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0530" y="5381643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C7684-AE26-4955-A003-3ACD99DA429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8849" name="think-cell Slide" r:id="rId6" imgW="360" imgH="360" progId="">
              <p:embed/>
            </p:oleObj>
          </a:graphicData>
        </a:graphic>
      </p:graphicFrame>
      <p:pic>
        <p:nvPicPr>
          <p:cNvPr id="6" name="Picture 206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8850" name="think-cell Slide" r:id="rId8" imgW="360" imgH="360" progId="">
              <p:embed/>
            </p:oleObj>
          </a:graphicData>
        </a:graphic>
      </p:graphicFrame>
      <p:pic>
        <p:nvPicPr>
          <p:cNvPr id="8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035800" y="6519863"/>
            <a:ext cx="2455863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734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0" y="1060466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ctr">
              <a:defRPr sz="1000" b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BC230681-BD30-4AD3-9087-AB597A76F6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02" name="Object 958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02" name="think-cell Slide" r:id="rId8" imgW="360" imgH="360" progId="">
              <p:embed/>
            </p:oleObj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90088" y="6572250"/>
            <a:ext cx="315912" cy="285750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E8C90596-B236-45C2-A273-290528170D4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9131" name="Object 27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9131" name="think-cell Slide" r:id="rId10" imgW="360" imgH="360" progId="">
              <p:embed/>
            </p:oleObj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90088" y="6572250"/>
            <a:ext cx="315912" cy="285750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prstClr val="black"/>
                </a:solidFill>
                <a:cs typeface="+mn-cs"/>
              </a:defRPr>
            </a:lvl1pPr>
          </a:lstStyle>
          <a:p>
            <a:pPr>
              <a:defRPr/>
            </a:pPr>
            <a:fld id="{024CAF55-214C-4B45-BCF6-503E278EE6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73" r:id="rId4"/>
    <p:sldLayoutId id="2147484080" r:id="rId5"/>
    <p:sldLayoutId id="214748408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20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2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9.xml"/><Relationship Id="rId7" Type="http://schemas.openxmlformats.org/officeDocument/2006/relationships/image" Target="../media/image2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8.jpeg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18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2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35.xml"/><Relationship Id="rId7" Type="http://schemas.openxmlformats.org/officeDocument/2006/relationships/image" Target="../media/image14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7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jpeg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913" name="Заголовок 5"/>
          <p:cNvSpPr>
            <a:spLocks noGrp="1"/>
          </p:cNvSpPr>
          <p:nvPr>
            <p:ph type="ctrTitle"/>
          </p:nvPr>
        </p:nvSpPr>
        <p:spPr bwMode="auto">
          <a:xfrm>
            <a:off x="333375" y="2411413"/>
            <a:ext cx="8828088" cy="24384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Сети ВЫСОКОГО НАПРЯЖЕНИЯ.</a:t>
            </a:r>
            <a:br>
              <a:rPr lang="ru-RU" smtClean="0"/>
            </a:br>
            <a:r>
              <a:rPr lang="ru-RU" smtClean="0"/>
              <a:t/>
            </a:r>
            <a:br>
              <a:rPr lang="ru-RU" smtClean="0"/>
            </a:br>
            <a:r>
              <a:rPr lang="ru-RU" smtClean="0"/>
              <a:t>Смертельная опасность вблизи  ЛЭП.</a:t>
            </a:r>
            <a:br>
              <a:rPr lang="ru-RU" smtClean="0"/>
            </a:br>
            <a:r>
              <a:rPr lang="ru-RU" smtClean="0"/>
              <a:t/>
            </a:r>
            <a:br>
              <a:rPr lang="ru-RU" smtClean="0"/>
            </a:br>
            <a:r>
              <a:rPr lang="ru-RU" sz="2000" i="1" smtClean="0"/>
              <a:t>(информация для учеников школ и студентов)</a:t>
            </a:r>
          </a:p>
        </p:txBody>
      </p:sp>
      <p:sp>
        <p:nvSpPr>
          <p:cNvPr id="678914" name="Номер слайда 2"/>
          <p:cNvSpPr>
            <a:spLocks noGrp="1"/>
          </p:cNvSpPr>
          <p:nvPr>
            <p:ph type="sldNum" sz="quarter" idx="4294967295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F74AFF2A-3684-4E3D-87DB-6B3B57F14CE4}" type="slidenum">
              <a:rPr lang="ru-RU" smtClean="0">
                <a:cs typeface="Arial" charset="0"/>
              </a:rPr>
              <a:pPr/>
              <a:t>1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554" name="Object 1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7554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7556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CDB06D2F-9FF5-4322-82B0-25E557A0D6DE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0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7557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7558" name="Rectangle 84"/>
          <p:cNvSpPr>
            <a:spLocks noChangeArrowheads="1"/>
          </p:cNvSpPr>
          <p:nvPr/>
        </p:nvSpPr>
        <p:spPr bwMode="auto">
          <a:xfrm>
            <a:off x="119063" y="1116013"/>
            <a:ext cx="9571037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Вблизи ЛЭП НЕЛЬЗЯ!   Ловить рыбу!</a:t>
            </a:r>
          </a:p>
          <a:p>
            <a:pPr marL="4763" algn="ctr"/>
            <a:endParaRPr lang="ru-RU" sz="2800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Через удочку рыбака 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             убивает насмерть</a:t>
            </a:r>
            <a:r>
              <a:rPr lang="ru-RU">
                <a:solidFill>
                  <a:srgbClr val="000000"/>
                </a:solidFill>
                <a:sym typeface="+mn-lt"/>
              </a:rPr>
              <a:t>.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Два случая в Пензенской области.</a:t>
            </a:r>
          </a:p>
        </p:txBody>
      </p:sp>
      <p:pic>
        <p:nvPicPr>
          <p:cNvPr id="57754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62550" y="2203450"/>
            <a:ext cx="3810000" cy="395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8574" name="Object 1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8574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8576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83AF0B30-BFD3-4C63-95EA-894492BD21AD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1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8577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8578" name="Rectangle 84"/>
          <p:cNvSpPr>
            <a:spLocks noChangeArrowheads="1"/>
          </p:cNvSpPr>
          <p:nvPr/>
        </p:nvSpPr>
        <p:spPr bwMode="auto">
          <a:xfrm>
            <a:off x="119063" y="1116013"/>
            <a:ext cx="9571037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В близи ЛЭП НЕЛЬЗЯ!   Запускать воздушные змеи!</a:t>
            </a:r>
          </a:p>
          <a:p>
            <a:pPr marL="4763" algn="ctr"/>
            <a:endParaRPr lang="ru-RU" sz="2800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</a:t>
            </a:r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763" y="1974850"/>
            <a:ext cx="6656387" cy="44370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534150" y="2149475"/>
            <a:ext cx="2892425" cy="408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9600" name="Object 1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9600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9602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581881AF-6383-4125-B0E7-82D361D1CDA0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2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9603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9604" name="Rectangle 84"/>
          <p:cNvSpPr>
            <a:spLocks noChangeArrowheads="1"/>
          </p:cNvSpPr>
          <p:nvPr/>
        </p:nvSpPr>
        <p:spPr bwMode="auto">
          <a:xfrm>
            <a:off x="119063" y="949325"/>
            <a:ext cx="9571037" cy="529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НЕЛЬЗЯ!   Прикасаться к опорам ЛЭП!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А тем более залазить на них!!!</a:t>
            </a:r>
          </a:p>
          <a:p>
            <a:pPr marL="4763" algn="ctr"/>
            <a:endParaRPr lang="ru-RU" sz="2800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 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</a:t>
            </a:r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</a:t>
            </a:r>
          </a:p>
        </p:txBody>
      </p:sp>
      <p:pic>
        <p:nvPicPr>
          <p:cNvPr id="57960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6400" y="2022475"/>
            <a:ext cx="401002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9606" name="Рисунок 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534025" y="2327275"/>
            <a:ext cx="3330575" cy="333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0626" name="Object 1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0626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80628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2989AC59-5834-4DFC-B061-2FC1755AE053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3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80629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80630" name="Rectangle 84"/>
          <p:cNvSpPr>
            <a:spLocks noChangeArrowheads="1"/>
          </p:cNvSpPr>
          <p:nvPr/>
        </p:nvSpPr>
        <p:spPr bwMode="auto">
          <a:xfrm>
            <a:off x="119063" y="1116013"/>
            <a:ext cx="9571037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НЕЛЬЗЯ!     Приближаться к проводам ЛЭП!</a:t>
            </a:r>
          </a:p>
          <a:p>
            <a:pPr marL="4763" algn="ctr"/>
            <a:endParaRPr lang="ru-RU" sz="2800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 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</a:t>
            </a:r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</a:t>
            </a:r>
          </a:p>
        </p:txBody>
      </p:sp>
      <p:pic>
        <p:nvPicPr>
          <p:cNvPr id="580631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79525" y="2789238"/>
            <a:ext cx="7248525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1648" name="Object 1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1648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81650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A6F45581-33E4-4D90-BE92-52A59FA39A40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4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81651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81652" name="Rectangle 84"/>
          <p:cNvSpPr>
            <a:spLocks noChangeArrowheads="1"/>
          </p:cNvSpPr>
          <p:nvPr/>
        </p:nvSpPr>
        <p:spPr bwMode="auto">
          <a:xfrm>
            <a:off x="119063" y="1116013"/>
            <a:ext cx="9571037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НЕЛЬЗЯ!     Подходить к оборванному проводу!</a:t>
            </a:r>
          </a:p>
          <a:p>
            <a:pPr marL="4763" algn="ctr"/>
            <a:endParaRPr lang="ru-RU" sz="2800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 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</a:t>
            </a:r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</a:t>
            </a:r>
          </a:p>
        </p:txBody>
      </p:sp>
      <p:pic>
        <p:nvPicPr>
          <p:cNvPr id="58163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75263" y="1811338"/>
            <a:ext cx="4010025" cy="4600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58163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96900" y="1811338"/>
            <a:ext cx="4010025" cy="459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2673" name="Object 17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2673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82675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D206B787-5CB6-4ADD-A329-7D647A3AC566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5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82676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Вблизи ЛЭП  ВЫСОКОГО НАПРЯЖЕНИЯ -  НЕЛЬЗЯ: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82677" name="Rectangle 84"/>
          <p:cNvSpPr>
            <a:spLocks noChangeArrowheads="1"/>
          </p:cNvSpPr>
          <p:nvPr/>
        </p:nvSpPr>
        <p:spPr bwMode="auto">
          <a:xfrm>
            <a:off x="119063" y="973138"/>
            <a:ext cx="9571037" cy="529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>
                <a:solidFill>
                  <a:srgbClr val="000000"/>
                </a:solidFill>
                <a:sym typeface="+mn-lt"/>
              </a:rPr>
              <a:t>НЕЛЬЗЯ!     Играть вблизи ЛЭП!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 </a:t>
            </a:r>
          </a:p>
          <a:p>
            <a:pPr marL="4763"/>
            <a:r>
              <a:rPr lang="ru-RU" sz="1800">
                <a:solidFill>
                  <a:srgbClr val="000000"/>
                </a:solidFill>
                <a:sym typeface="+mn-lt"/>
              </a:rPr>
              <a:t>    </a:t>
            </a:r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     </a:t>
            </a:r>
          </a:p>
        </p:txBody>
      </p:sp>
      <p:pic>
        <p:nvPicPr>
          <p:cNvPr id="58266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3525" y="1743075"/>
            <a:ext cx="4546600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58266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70475" y="1743075"/>
            <a:ext cx="4530725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38600" y="2514600"/>
            <a:ext cx="18288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6526" name="Object 1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6526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6528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8AA67CBC-B5C8-4C9B-AE8E-9F839204673A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6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6529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pic>
        <p:nvPicPr>
          <p:cNvPr id="576530" name="Рисунок 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75075" y="2428875"/>
            <a:ext cx="5927725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graphicFrame>
        <p:nvGraphicFramePr>
          <p:cNvPr id="564278" name="Object 5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4278" name="think-cell Slide" r:id="rId7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64281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B0A415FA-C998-46A9-BA47-C9237147BCCD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2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64282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808038" y="1060450"/>
            <a:ext cx="8550275" cy="492125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/>
              <a:t>Наша компания занимается передачей электрической энергии, выработанной на  крупнейших электростанциях РФ и её распределением по  всем  регионам страны. </a:t>
            </a:r>
          </a:p>
        </p:txBody>
      </p:sp>
      <p:sp>
        <p:nvSpPr>
          <p:cNvPr id="564283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ПАО  «ФСК ЕЭС»   -   Федеральная сетевая компания.</a:t>
            </a:r>
            <a:br>
              <a:rPr lang="ru-RU" smtClean="0"/>
            </a:br>
            <a:r>
              <a:rPr lang="ru-RU" smtClean="0"/>
              <a:t>Магистральные сети -  ВЫСОКОЕ НАПРЯЖЕНИЕ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613" y="1668463"/>
            <a:ext cx="9501187" cy="1731962"/>
          </a:xfrm>
          <a:prstGeom prst="rect">
            <a:avLst/>
          </a:prstGeom>
        </p:spPr>
        <p:txBody>
          <a:bodyPr lIns="0" rIns="0"/>
          <a:lstStyle/>
          <a:p>
            <a:pPr marL="4763"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По нашим  линиям  электропередач  передаются  огромные мощности. </a:t>
            </a:r>
          </a:p>
          <a:p>
            <a:pPr marL="4763">
              <a:defRPr/>
            </a:pPr>
            <a:endParaRPr lang="ru-RU" dirty="0">
              <a:solidFill>
                <a:prstClr val="black"/>
              </a:solidFill>
              <a:cs typeface="+mn-cs"/>
              <a:sym typeface="+mn-lt"/>
            </a:endParaRPr>
          </a:p>
          <a:p>
            <a:pPr marL="4763"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Этих  мощностей достаточно для электропитания целых регионов (областей, республик и краёв) </a:t>
            </a:r>
          </a:p>
          <a:p>
            <a:pPr marL="449263" indent="-184150"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с городами и посёлками, </a:t>
            </a:r>
          </a:p>
          <a:p>
            <a:pPr marL="449263" indent="-184150"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с заводами и фабриками, </a:t>
            </a:r>
          </a:p>
          <a:p>
            <a:pPr marL="449263" indent="-184150"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с трамваями и троллейбусами,</a:t>
            </a:r>
          </a:p>
          <a:p>
            <a:pPr marL="449263" indent="-184150"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с сетями освещения и </a:t>
            </a:r>
          </a:p>
          <a:p>
            <a:pPr marL="4763"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	       всеми жилыми домами.</a:t>
            </a:r>
          </a:p>
          <a:p>
            <a:pPr marL="4763">
              <a:defRPr/>
            </a:pPr>
            <a:r>
              <a:rPr lang="ru-RU" dirty="0">
                <a:solidFill>
                  <a:prstClr val="black"/>
                </a:solidFill>
                <a:cs typeface="+mn-cs"/>
                <a:sym typeface="+mn-lt"/>
              </a:rPr>
              <a:t> </a:t>
            </a:r>
          </a:p>
        </p:txBody>
      </p:sp>
      <p:sp>
        <p:nvSpPr>
          <p:cNvPr id="564285" name="Rectangle 84"/>
          <p:cNvSpPr>
            <a:spLocks noChangeArrowheads="1"/>
          </p:cNvSpPr>
          <p:nvPr/>
        </p:nvSpPr>
        <p:spPr bwMode="auto">
          <a:xfrm>
            <a:off x="201613" y="4403725"/>
            <a:ext cx="3313112" cy="2052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 algn="ctr"/>
            <a:r>
              <a:rPr lang="ru-RU">
                <a:solidFill>
                  <a:srgbClr val="000000"/>
                </a:solidFill>
                <a:sym typeface="+mn-lt"/>
              </a:rPr>
              <a:t>Для передачи такой большой мощности на огромные </a:t>
            </a:r>
          </a:p>
          <a:p>
            <a:pPr marL="4763" algn="ctr"/>
            <a:r>
              <a:rPr lang="ru-RU">
                <a:solidFill>
                  <a:srgbClr val="000000"/>
                </a:solidFill>
                <a:sym typeface="+mn-lt"/>
              </a:rPr>
              <a:t>расстояния используются </a:t>
            </a:r>
            <a:r>
              <a:rPr lang="ru-RU">
                <a:solidFill>
                  <a:srgbClr val="C00000"/>
                </a:solidFill>
                <a:sym typeface="+mn-lt"/>
              </a:rPr>
              <a:t>МАГИСТРАЛЬНЫЕ линии </a:t>
            </a:r>
            <a:r>
              <a:rPr lang="ru-RU">
                <a:solidFill>
                  <a:srgbClr val="000000"/>
                </a:solidFill>
                <a:sym typeface="+mn-lt"/>
              </a:rPr>
              <a:t>электропередач, </a:t>
            </a:r>
          </a:p>
          <a:p>
            <a:pPr marL="4763" algn="ctr"/>
            <a:r>
              <a:rPr lang="ru-RU">
                <a:solidFill>
                  <a:srgbClr val="000000"/>
                </a:solidFill>
                <a:sym typeface="+mn-lt"/>
              </a:rPr>
              <a:t>со </a:t>
            </a:r>
            <a:r>
              <a:rPr lang="ru-RU">
                <a:solidFill>
                  <a:srgbClr val="FF0000"/>
                </a:solidFill>
                <a:sym typeface="+mn-lt"/>
              </a:rPr>
              <a:t>СВЕХВЫСОКИМ  НАПРЯЖЕНИЕМ!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1409" name="Объект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4838" y="981075"/>
            <a:ext cx="8959850" cy="568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71408" name="Object 1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1408" name="think-cell Slide" r:id="rId7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1411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87B2209E-ECB0-4971-ACAB-16DB5EEDEE1F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3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1412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ПАО  «ФСК ЕЭС»   -   Федеральная сетевая компания.</a:t>
            </a:r>
            <a:br>
              <a:rPr lang="ru-RU" smtClean="0"/>
            </a:br>
            <a:r>
              <a:rPr lang="ru-RU" smtClean="0"/>
              <a:t>Магистральные сети -  ВЫСОКОЕ НАПРЯЖЕНИЕ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150" y="1176338"/>
            <a:ext cx="8621713" cy="2598737"/>
          </a:xfrm>
          <a:prstGeom prst="rect">
            <a:avLst/>
          </a:prstGeom>
        </p:spPr>
        <p:txBody>
          <a:bodyPr lIns="0" rIns="0"/>
          <a:lstStyle/>
          <a:p>
            <a:pPr marL="4763"/>
            <a:r>
              <a:rPr lang="ru-RU" sz="1400">
                <a:solidFill>
                  <a:srgbClr val="FFFF00"/>
                </a:solidFill>
                <a:sym typeface="+mn-lt"/>
              </a:rPr>
              <a:t>Например:</a:t>
            </a:r>
          </a:p>
          <a:p>
            <a:pPr marL="4763"/>
            <a:r>
              <a:rPr lang="ru-RU" sz="1400">
                <a:solidFill>
                  <a:srgbClr val="FFFF00"/>
                </a:solidFill>
                <a:sym typeface="+mn-lt"/>
              </a:rPr>
              <a:t>	- для передачи электричества от Балаковской АЭС (Саратовская обл.) и Жигулёвской ГЭС (</a:t>
            </a:r>
            <a:r>
              <a:rPr lang="en-US" sz="1400">
                <a:solidFill>
                  <a:srgbClr val="FFFF00"/>
                </a:solidFill>
                <a:sym typeface="+mn-lt"/>
              </a:rPr>
              <a:t>C</a:t>
            </a:r>
            <a:r>
              <a:rPr lang="ru-RU" sz="1400">
                <a:solidFill>
                  <a:srgbClr val="FFFF00"/>
                </a:solidFill>
                <a:sym typeface="+mn-lt"/>
              </a:rPr>
              <a:t>амарская обл.) используются ЛЭП  напряжением </a:t>
            </a:r>
            <a:r>
              <a:rPr lang="ru-RU" sz="180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sym typeface="+mn-lt"/>
              </a:rPr>
              <a:t>500 000 </a:t>
            </a:r>
            <a:r>
              <a:rPr lang="ru-RU" sz="140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r>
              <a:rPr lang="ru-RU" sz="1400">
                <a:solidFill>
                  <a:srgbClr val="FFFF00"/>
                </a:solidFill>
                <a:sym typeface="+mn-lt"/>
              </a:rPr>
              <a:t>	- для распределения электроэнергии внутри области или республики используются ЛЭП напряжением </a:t>
            </a:r>
            <a:r>
              <a:rPr lang="ru-RU" sz="180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sym typeface="+mn-lt"/>
              </a:rPr>
              <a:t>220 000</a:t>
            </a:r>
            <a:r>
              <a:rPr lang="ru-RU" sz="1600">
                <a:solidFill>
                  <a:srgbClr val="FFFF00"/>
                </a:solidFill>
                <a:sym typeface="+mn-lt"/>
              </a:rPr>
              <a:t> </a:t>
            </a:r>
            <a:r>
              <a:rPr lang="ru-RU" sz="1400">
                <a:solidFill>
                  <a:srgbClr val="FFFF00"/>
                </a:solidFill>
                <a:sym typeface="+mn-lt"/>
              </a:rPr>
              <a:t>вольт или </a:t>
            </a:r>
            <a:r>
              <a:rPr lang="ru-RU" sz="180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sym typeface="+mn-lt"/>
              </a:rPr>
              <a:t>110 000 </a:t>
            </a:r>
            <a:r>
              <a:rPr lang="ru-RU" sz="140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endParaRPr lang="ru-RU" sz="1400">
              <a:solidFill>
                <a:srgbClr val="FFFF00"/>
              </a:solidFill>
              <a:sym typeface="+mn-lt"/>
            </a:endParaRPr>
          </a:p>
          <a:p>
            <a:pPr marL="4763"/>
            <a:r>
              <a:rPr lang="ru-RU" sz="1600" u="sng">
                <a:solidFill>
                  <a:srgbClr val="FFFF00"/>
                </a:solidFill>
                <a:sym typeface="+mn-lt"/>
              </a:rPr>
              <a:t>Это МАГИСТРАЛЬНЫЕ СЕТИ  страны.</a:t>
            </a:r>
          </a:p>
          <a:p>
            <a:pPr marL="4763"/>
            <a:endParaRPr lang="ru-RU" sz="1400">
              <a:solidFill>
                <a:srgbClr val="FFFF00"/>
              </a:solidFill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9367" name="Object 2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9367" name="think-cell Slide" r:id="rId6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69369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B353ADAC-FEBA-4D85-AED0-48E889F3DFF5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4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69370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2324100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69371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ПАО  «ФСК ЕЭС»   -   Федеральная сетевая компания.</a:t>
            </a:r>
            <a:br>
              <a:rPr lang="ru-RU" smtClean="0"/>
            </a:br>
            <a:r>
              <a:rPr lang="ru-RU" smtClean="0"/>
              <a:t>Магистральные сети -  ВЫСОКОЕ НАПРЯЖЕНИЕ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69372" name="Rectangle 84"/>
          <p:cNvSpPr>
            <a:spLocks noChangeArrowheads="1"/>
          </p:cNvSpPr>
          <p:nvPr/>
        </p:nvSpPr>
        <p:spPr bwMode="auto">
          <a:xfrm>
            <a:off x="4797425" y="3395663"/>
            <a:ext cx="4905375" cy="308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Но, если такое случается в МАГИСТРАЛЬНЫХ сетях ВЫСОКОГО НАПРЯЖЕНИЯ – шансов у него НЕТ!   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 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Этот человек, если даже не сгорит в первые секунды, то точно погибнет в ближайшие часы или дни. 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ВЫСОКОЕ НАПРЯЖЕНИЕ создаёт большие токи через тело человека, которые  выжигают большинство внутренних органов и поэтому не оставляют шансов выжить.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Увы, но это одно из свойств ВЫСОКОГО НАПРЯЖЕНИЯ!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1613" y="3395663"/>
            <a:ext cx="4286250" cy="3214687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</p:pic>
      <p:sp>
        <p:nvSpPr>
          <p:cNvPr id="569374" name="Rectangle 84"/>
          <p:cNvSpPr>
            <a:spLocks noChangeArrowheads="1"/>
          </p:cNvSpPr>
          <p:nvPr/>
        </p:nvSpPr>
        <p:spPr bwMode="auto">
          <a:xfrm>
            <a:off x="201613" y="1214438"/>
            <a:ext cx="9501187" cy="202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И так, ВЫСОКОЕ НАПРЯЖЕНИЕ необходимо человеку для передачи большой мощности на большие расстояния.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Это высокое напряжение  служит человеку, т.е. приносит пользу, но нужно помнить, что оно всегда было и остаётся </a:t>
            </a:r>
            <a:r>
              <a:rPr lang="ru-RU" sz="1800" u="sng">
                <a:solidFill>
                  <a:srgbClr val="000000"/>
                </a:solidFill>
                <a:sym typeface="+mn-lt"/>
              </a:rPr>
              <a:t>СМЕРТЕЛЬНО  ОПАСНЫМ</a:t>
            </a:r>
            <a:r>
              <a:rPr lang="ru-RU" sz="1800">
                <a:solidFill>
                  <a:srgbClr val="000000"/>
                </a:solidFill>
                <a:sym typeface="+mn-lt"/>
              </a:rPr>
              <a:t>  </a:t>
            </a:r>
            <a:r>
              <a:rPr lang="ru-RU">
                <a:solidFill>
                  <a:srgbClr val="000000"/>
                </a:solidFill>
                <a:sym typeface="+mn-lt"/>
              </a:rPr>
              <a:t>для  человека.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Если в результате несчастного случая человек попадает под напряжение 220 вольт (которые у Вас дома) в некоторых случаях он может  выжить, ИНОГДА.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0389" name="Object 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0389" name="think-cell Slide" r:id="rId6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0391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FF4C0D5B-72DA-4C35-90BE-4265507FDB7F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5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0392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1057275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70393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0394" name="Rectangle 84"/>
          <p:cNvSpPr>
            <a:spLocks noChangeArrowheads="1"/>
          </p:cNvSpPr>
          <p:nvPr/>
        </p:nvSpPr>
        <p:spPr bwMode="auto">
          <a:xfrm>
            <a:off x="201613" y="2422525"/>
            <a:ext cx="9501187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ВЫСОКОЕ НАПРЯЖЕНИЕ УБИВАЕТ НА РАССТОЯНИИ!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Одно из свойств высокого напряжения – 	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способность пробивать воздушные промежутки. 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Человек ещё не дотронулся до провода, он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 только приблизился к нему на недопустимое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расстояние. И в этот момент происходит разряд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 электричества, как молния.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Только молния кратковременная,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а электричество в проводах длительное. 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В результате – обугленный труп! </a:t>
            </a:r>
          </a:p>
        </p:txBody>
      </p:sp>
      <p:sp>
        <p:nvSpPr>
          <p:cNvPr id="570395" name="Text Placeholder 3"/>
          <p:cNvSpPr txBox="1">
            <a:spLocks/>
          </p:cNvSpPr>
          <p:nvPr/>
        </p:nvSpPr>
        <p:spPr bwMode="auto">
          <a:xfrm>
            <a:off x="201613" y="1452563"/>
            <a:ext cx="9274175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Как уберечься от ВЫСОКОГО НАПРЯЖЕНИЯ?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Чего нельзя делать вблизи ЛЭП,  а особенно вблизи 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МАГИСТРАЛЬНЫХ линий ВЫСОГОКО  НАПРЯЖЕНИЯ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775" y="3298825"/>
            <a:ext cx="4714875" cy="31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2437" name="Рисунок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01613" y="3084513"/>
            <a:ext cx="5319712" cy="355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72436" name="Object 20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2436" name="think-cell Slide" r:id="rId7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2439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B76084A5-FDF2-4E6E-8067-F236EB417167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6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2440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1057275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72441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2442" name="Rectangle 84"/>
          <p:cNvSpPr>
            <a:spLocks noChangeArrowheads="1"/>
          </p:cNvSpPr>
          <p:nvPr/>
        </p:nvSpPr>
        <p:spPr bwMode="auto">
          <a:xfrm>
            <a:off x="201613" y="2422525"/>
            <a:ext cx="9594850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ПРОВОД УПАВШИЙ НА ЗЕМЛЮ СОЗДАЁТ ВОКРУГ СЕБЯ ОПАСНУЮ ЗОНУ  «ШАГОВОЕ НАПРЯЖЕНИЕ»!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Если провод ЛЭП или трос оборвался и упал на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землю, то вокруг него на поверхности земли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 создаётся зона высокого напряжения. 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Человек, находясь в ней, может получить разряд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 просто шагнув или чуть расставив ноги.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Опасная зона ограничена 10 метрами вокруг места падения провода.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Один шаг в зоне «ШАГОВОГО НАПРЯЖЕНИЯ»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и человек погибнет.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Погибнет даже на расстоянии нескольких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метров от лежащего провода. </a:t>
            </a:r>
          </a:p>
        </p:txBody>
      </p:sp>
      <p:sp>
        <p:nvSpPr>
          <p:cNvPr id="572443" name="Text Placeholder 3"/>
          <p:cNvSpPr txBox="1">
            <a:spLocks/>
          </p:cNvSpPr>
          <p:nvPr/>
        </p:nvSpPr>
        <p:spPr bwMode="auto">
          <a:xfrm>
            <a:off x="201613" y="1452563"/>
            <a:ext cx="9274175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Как уберечься от ВЫСОКОГО НАПРЯЖЕНИЯ?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Чего нельзя делать вблизи ЛЭП,  а особенно вблизи 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МАГИСТРАЛЬНЫХ линий ВЫСОГОКО  НАПРЯЖЕНИЯ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59" name="Object 1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3459" name="think-cell Slide" r:id="rId6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3461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BDEF4DE9-CF01-42CC-AC89-AC93A2F3471C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7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3462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1057275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73463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3464" name="Rectangle 84"/>
          <p:cNvSpPr>
            <a:spLocks noChangeArrowheads="1"/>
          </p:cNvSpPr>
          <p:nvPr/>
        </p:nvSpPr>
        <p:spPr bwMode="auto">
          <a:xfrm>
            <a:off x="201613" y="2422525"/>
            <a:ext cx="9594850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НА ТЕЛЕ ОПОРЫ  МОЖЕТ БЫТЬ НАПРЯЖЕНИЕ. 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Высокое напряжение ЛЭП способно передавать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(с помощью электрического поля)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напряжение на металлические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проводники и конструкции.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	Это явление называется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		«НАВЕДЁННОЕ НАПРЯЖЕНИЕ».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Если заземлитель опоры повреждён,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то велика вероятность появления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на теле опоры опасного напряжения.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Человек, прикоснувшись к такой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опоре, получит удар током.</a:t>
            </a:r>
          </a:p>
        </p:txBody>
      </p:sp>
      <p:sp>
        <p:nvSpPr>
          <p:cNvPr id="573465" name="Text Placeholder 3"/>
          <p:cNvSpPr txBox="1">
            <a:spLocks/>
          </p:cNvSpPr>
          <p:nvPr/>
        </p:nvSpPr>
        <p:spPr bwMode="auto">
          <a:xfrm>
            <a:off x="201613" y="1452563"/>
            <a:ext cx="9274175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Как уберечься от ВЫСОКОГО НАПРЯЖЕНИЯ?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Чего нельзя делать вблизи ЛЭП,  а особенно вблизи 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МАГИСТРАЛЬНЫХ линий ВЫСОГОКО  НАПРЯЖЕНИЯ. </a:t>
            </a:r>
          </a:p>
        </p:txBody>
      </p:sp>
      <p:pic>
        <p:nvPicPr>
          <p:cNvPr id="573466" name="Рисунок 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09713" y="3146425"/>
            <a:ext cx="3328987" cy="333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4479" name="Object 1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4479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4481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17187941-C1CB-4509-9D77-A026146A6C46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8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4482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1057275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74483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4484" name="Rectangle 84"/>
          <p:cNvSpPr>
            <a:spLocks noChangeArrowheads="1"/>
          </p:cNvSpPr>
          <p:nvPr/>
        </p:nvSpPr>
        <p:spPr bwMode="auto">
          <a:xfrm>
            <a:off x="201613" y="2422525"/>
            <a:ext cx="9024937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НА ПОВЕРХНОСТИ ИЗОЛЯТОРОВ ЕСТЬ НАПРЯЖЕНИЕ. 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Поверхность изолятора сконструирована так,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					чтобы создать максимальное сопротивление.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Однако в результате атмосферных загрязнений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и появляющихся со временем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микротрещин в теле изолятора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по его поверхности начинают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течь токи утечки. </a:t>
            </a:r>
          </a:p>
          <a:p>
            <a:pPr marL="4763" algn="r"/>
            <a:endParaRPr lang="ru-RU">
              <a:solidFill>
                <a:srgbClr val="000000"/>
              </a:solidFill>
              <a:sym typeface="+mn-lt"/>
            </a:endParaRP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Дотронувшись до изолятора человек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создаёт благоприятные условия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для пробоя изолятора и </a:t>
            </a:r>
          </a:p>
          <a:p>
            <a:pPr marL="4763" algn="r"/>
            <a:r>
              <a:rPr lang="ru-RU">
                <a:solidFill>
                  <a:srgbClr val="000000"/>
                </a:solidFill>
                <a:sym typeface="+mn-lt"/>
              </a:rPr>
              <a:t>получения смертельного разряда.</a:t>
            </a:r>
          </a:p>
        </p:txBody>
      </p:sp>
      <p:sp>
        <p:nvSpPr>
          <p:cNvPr id="574485" name="Text Placeholder 3"/>
          <p:cNvSpPr txBox="1">
            <a:spLocks/>
          </p:cNvSpPr>
          <p:nvPr/>
        </p:nvSpPr>
        <p:spPr bwMode="auto">
          <a:xfrm>
            <a:off x="201613" y="1452563"/>
            <a:ext cx="9274175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Как уберечься от ВЫСОКОГО НАПРЯЖЕНИЯ?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Чего нельзя делать вблизи ЛЭП,  а особенно вблизи </a:t>
            </a:r>
          </a:p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МАГИСТРАЛЬНЫХ линий ВЫСОГОКО  НАПРЯЖЕНИЯ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40713" y="1643063"/>
            <a:ext cx="142557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1613" y="1489075"/>
            <a:ext cx="985837" cy="1138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552575" y="3313113"/>
            <a:ext cx="2546350" cy="297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5505" name="Object 17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5505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575507" name="Slide Number Placeholder 2"/>
          <p:cNvSpPr>
            <a:spLocks noGrp="1"/>
          </p:cNvSpPr>
          <p:nvPr>
            <p:ph type="sldNum" sz="quarter" idx="14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fld id="{949A78CB-6C88-40E0-ADEA-1132491EE939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9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5508" name="Text Placeholder 3"/>
          <p:cNvSpPr>
            <a:spLocks noGrp="1"/>
          </p:cNvSpPr>
          <p:nvPr>
            <p:ph type="body" sz="quarter" idx="13"/>
          </p:nvPr>
        </p:nvSpPr>
        <p:spPr bwMode="auto">
          <a:xfrm>
            <a:off x="0" y="1057275"/>
            <a:ext cx="10010775" cy="246063"/>
          </a:xfrm>
          <a:solidFill>
            <a:srgbClr val="FF0000"/>
          </a:solid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ru-RU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</a:p>
        </p:txBody>
      </p:sp>
      <p:sp>
        <p:nvSpPr>
          <p:cNvPr id="575509" name="Title 1"/>
          <p:cNvSpPr>
            <a:spLocks noGrp="1"/>
          </p:cNvSpPr>
          <p:nvPr>
            <p:ph type="title"/>
          </p:nvPr>
        </p:nvSpPr>
        <p:spPr bwMode="auto">
          <a:xfrm>
            <a:off x="212725" y="0"/>
            <a:ext cx="8624888" cy="927100"/>
          </a:xfrm>
          <a:noFill/>
          <a:ln>
            <a:miter lim="800000"/>
            <a:headEnd/>
            <a:tailEnd/>
          </a:ln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smtClean="0"/>
              <a:t>Магистральные сети  ВЫСОКОГО НАПРЯЖЕНИЯ -  это</a:t>
            </a:r>
            <a:br>
              <a:rPr lang="ru-RU" smtClean="0"/>
            </a:br>
            <a:r>
              <a:rPr lang="ru-RU" smtClean="0"/>
              <a:t>смертельно опасно!</a:t>
            </a:r>
            <a:endParaRPr lang="ru-RU" smtClean="0">
              <a:solidFill>
                <a:srgbClr val="FF0000"/>
              </a:solidFill>
            </a:endParaRPr>
          </a:p>
        </p:txBody>
      </p:sp>
      <p:sp>
        <p:nvSpPr>
          <p:cNvPr id="575510" name="Rectangle 84"/>
          <p:cNvSpPr>
            <a:spLocks noChangeArrowheads="1"/>
          </p:cNvSpPr>
          <p:nvPr/>
        </p:nvSpPr>
        <p:spPr bwMode="auto">
          <a:xfrm>
            <a:off x="201613" y="1911350"/>
            <a:ext cx="5356225" cy="411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</a:t>
            </a: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Чем больше изоляторов в гирлянде, тем страшнее напряжение в линии.  </a:t>
            </a:r>
          </a:p>
          <a:p>
            <a:pPr marL="4763"/>
            <a:endParaRPr lang="ru-RU">
              <a:solidFill>
                <a:srgbClr val="000000"/>
              </a:solidFill>
              <a:sym typeface="+mn-lt"/>
            </a:endParaRPr>
          </a:p>
          <a:p>
            <a:pPr marL="4763"/>
            <a:r>
              <a:rPr lang="ru-RU">
                <a:solidFill>
                  <a:srgbClr val="000000"/>
                </a:solidFill>
                <a:sym typeface="+mn-lt"/>
              </a:rPr>
              <a:t>	Не приближайтесь к ЛЭП во время дождя или в туман (повышенная влажность).</a:t>
            </a:r>
          </a:p>
        </p:txBody>
      </p:sp>
      <p:sp>
        <p:nvSpPr>
          <p:cNvPr id="575511" name="Text Placeholder 3"/>
          <p:cNvSpPr txBox="1">
            <a:spLocks/>
          </p:cNvSpPr>
          <p:nvPr/>
        </p:nvSpPr>
        <p:spPr bwMode="auto">
          <a:xfrm>
            <a:off x="201613" y="1452563"/>
            <a:ext cx="92741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ru-RU" sz="1800">
                <a:solidFill>
                  <a:schemeClr val="bg2"/>
                </a:solidFill>
              </a:rPr>
              <a:t>Подведём итог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7575" y="2335213"/>
            <a:ext cx="3671888" cy="2786062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713" y="3505200"/>
            <a:ext cx="5033962" cy="2832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10</TotalTime>
  <Words>758</Words>
  <Application>Microsoft Office PowerPoint</Application>
  <PresentationFormat>Лист A4 (210x297 мм)</PresentationFormat>
  <Paragraphs>290</Paragraphs>
  <Slides>16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32" baseType="lpstr">
      <vt:lpstr>Arial</vt:lpstr>
      <vt:lpstr>Arial Narrow</vt:lpstr>
      <vt:lpstr>Calibri</vt:lpstr>
      <vt:lpstr>+mn-lt</vt:lpstr>
      <vt:lpstr>Wingdings</vt:lpstr>
      <vt:lpstr>Шаблон ФСК февраль 2014 с линиями</vt:lpstr>
      <vt:lpstr>1_Шаблон ФСК февраль 2014 с линиями</vt:lpstr>
      <vt:lpstr>Шаблон ФСК февраль 2014 с линиями</vt:lpstr>
      <vt:lpstr>Шаблон ФСК февраль 2014 с линиями</vt:lpstr>
      <vt:lpstr>Шаблон ФСК февраль 2014 с линиями</vt:lpstr>
      <vt:lpstr>1_Шаблон ФСК февраль 2014 с линиями</vt:lpstr>
      <vt:lpstr>1_Шаблон ФСК февраль 2014 с линиями</vt:lpstr>
      <vt:lpstr>1_Шаблон ФСК февраль 2014 с линиями</vt:lpstr>
      <vt:lpstr>1_Шаблон ФСК февраль 2014 с линиями</vt:lpstr>
      <vt:lpstr>1_Шаблон ФСК февраль 2014 с линиями</vt:lpstr>
      <vt:lpstr>think-cell Slide</vt:lpstr>
      <vt:lpstr>Сети ВЫСОКОГО НАПРЯЖЕНИЯ.  Смертельная опасность вблизи  ЛЭП.  (информация для учеников школ и студентов)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Магистральные сети  ВЫСОКОГО НАПРЯЖЕНИЯ -  это смертельно опасно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ФСК 2014</dc:title>
  <dc:creator/>
  <cp:lastModifiedBy/>
  <cp:revision>4</cp:revision>
  <dcterms:created xsi:type="dcterms:W3CDTF">2014-02-13T06:18:42Z</dcterms:created>
  <dcterms:modified xsi:type="dcterms:W3CDTF">2018-06-02T14:14:02Z</dcterms:modified>
</cp:coreProperties>
</file>